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slideLayouts/slideLayout19.xml" ContentType="application/vnd.openxmlformats-officedocument.presentationml.slideLayout+xml"/>
  <Override PartName="/ppt/theme/theme6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7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1" r:id="rId4"/>
    <p:sldMasterId id="2147483709" r:id="rId5"/>
    <p:sldMasterId id="2147483789" r:id="rId6"/>
    <p:sldMasterId id="2147483731" r:id="rId7"/>
    <p:sldMasterId id="2147483800" r:id="rId8"/>
    <p:sldMasterId id="2147483803" r:id="rId9"/>
    <p:sldMasterId id="2147483805" r:id="rId10"/>
    <p:sldMasterId id="2147483815" r:id="rId11"/>
  </p:sldMasterIdLst>
  <p:notesMasterIdLst>
    <p:notesMasterId r:id="rId17"/>
  </p:notesMasterIdLst>
  <p:handoutMasterIdLst>
    <p:handoutMasterId r:id="rId18"/>
  </p:handoutMasterIdLst>
  <p:sldIdLst>
    <p:sldId id="389" r:id="rId12"/>
    <p:sldId id="379" r:id="rId13"/>
    <p:sldId id="349" r:id="rId14"/>
    <p:sldId id="377" r:id="rId15"/>
    <p:sldId id="390" r:id="rId16"/>
  </p:sldIdLst>
  <p:sldSz cx="12192000" cy="6858000"/>
  <p:notesSz cx="7023100" cy="9309100"/>
  <p:custDataLst>
    <p:tags r:id="rId1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tha Keavney" initials="mk" lastIdx="11" clrIdx="0"/>
  <p:cmAuthor id="7" name="lshin" initials="ls" lastIdx="2" clrIdx="7"/>
  <p:cmAuthor id="1" name="Michael Preston" initials="MPP" lastIdx="12" clrIdx="1"/>
  <p:cmAuthor id="8" name="Keefe, Ana" initials="KA" lastIdx="3" clrIdx="8"/>
  <p:cmAuthor id="2" name="Default" initials="" lastIdx="2" clrIdx="2"/>
  <p:cmAuthor id="9" name="Roman, Monica" initials="RM" lastIdx="19" clrIdx="9">
    <p:extLst/>
  </p:cmAuthor>
  <p:cmAuthor id="3" name="Biedermann, Edward" initials="BE" lastIdx="24" clrIdx="3">
    <p:extLst/>
  </p:cmAuthor>
  <p:cmAuthor id="4" name="George Lalis" initials="GL" lastIdx="3" clrIdx="4"/>
  <p:cmAuthor id="5" name="Matt Walsh" initials="" lastIdx="0" clrIdx="5"/>
  <p:cmAuthor id="6" name="Schallert-Wygal, Lila" initials="LSW" lastIdx="3" clrIdx="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CDE"/>
    <a:srgbClr val="0077C8"/>
    <a:srgbClr val="84329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97" autoAdjust="0"/>
    <p:restoredTop sz="84606" autoAdjust="0"/>
  </p:normalViewPr>
  <p:slideViewPr>
    <p:cSldViewPr snapToGrid="0" snapToObjects="1">
      <p:cViewPr varScale="1">
        <p:scale>
          <a:sx n="61" d="100"/>
          <a:sy n="61" d="100"/>
        </p:scale>
        <p:origin x="978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324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169" d="100"/>
          <a:sy n="169" d="100"/>
        </p:scale>
        <p:origin x="6568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C61FF226-DC6E-CF46-9887-DE4AB70041F7}" type="datetimeFigureOut">
              <a:rPr lang="en-US" smtClean="0"/>
              <a:t>6/27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A431DA3F-A467-A24A-8BE9-586F009792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61509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F9C8764C-90B5-DB43-8086-8AB00EB0C2C4}" type="datetimeFigureOut">
              <a:rPr lang="en-US" smtClean="0"/>
              <a:t>6/27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5F3EC56D-A4BA-4A41-B0DB-BC0A1EBC2E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16820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EC56D-A4BA-4A41-B0DB-BC0A1EBC2E6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2282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EC56D-A4BA-4A41-B0DB-BC0A1EBC2E6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93646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F3EC56D-A4BA-4A41-B0DB-BC0A1EBC2E62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0779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 with Image — 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3059" y="617802"/>
            <a:ext cx="4471173" cy="1301895"/>
          </a:xfrm>
        </p:spPr>
        <p:txBody>
          <a:bodyPr wrap="square" lIns="0" tIns="137160" rIns="0" bIns="0" anchor="t" anchorCtr="0">
            <a:spAutoFit/>
          </a:bodyPr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3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 dirty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53286" y="1924842"/>
            <a:ext cx="4471173" cy="784830"/>
          </a:xfr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464773" y="5568492"/>
            <a:ext cx="4579530" cy="166199"/>
          </a:xfr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8179505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8320929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52396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Two Column w/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8320929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6795425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2581961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773478" y="3137770"/>
            <a:ext cx="6960030" cy="2774515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30503109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Two Rows w/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2581961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773478" y="3137770"/>
            <a:ext cx="6960030" cy="2774515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5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91522073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2631883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. Statement Slide -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79486" y="2043974"/>
            <a:ext cx="7630887" cy="807382"/>
          </a:xfrm>
          <a:prstGeom prst="rect">
            <a:avLst/>
          </a:prstGeom>
        </p:spPr>
        <p:txBody>
          <a:bodyPr lIns="0" tIns="137160" rIns="0" bIns="0"/>
          <a:lstStyle>
            <a:lvl1pPr algn="ctr">
              <a:defRPr sz="4200" baseline="0">
                <a:solidFill>
                  <a:schemeClr val="tx1"/>
                </a:solidFill>
                <a:latin typeface="Roboto Slab Regular"/>
                <a:cs typeface="Roboto Slab Regular"/>
              </a:defRPr>
            </a:lvl1pPr>
          </a:lstStyle>
          <a:p>
            <a:r>
              <a:rPr lang="en-US" dirty="0"/>
              <a:t>Statement goes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4323" y="6193618"/>
            <a:ext cx="2844800" cy="365125"/>
          </a:xfrm>
        </p:spPr>
        <p:txBody>
          <a:bodyPr lIns="0" tIns="0" rIns="0" bIns="0" anchor="b"/>
          <a:lstStyle/>
          <a:p>
            <a:fld id="{E58C0DC8-E089-4D4A-A71C-1ACF76415CE6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Rectangle 8"/>
          <p:cNvSpPr/>
          <p:nvPr userDrawn="1"/>
        </p:nvSpPr>
        <p:spPr>
          <a:xfrm>
            <a:off x="2179486" y="1923691"/>
            <a:ext cx="7630887" cy="1119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179485" y="2851356"/>
            <a:ext cx="7630888" cy="507831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normalizeH="0" baseline="0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077743" y="4077111"/>
            <a:ext cx="10036514" cy="609398"/>
          </a:xfrm>
          <a:prstGeom prst="rect">
            <a:avLst/>
          </a:prstGeom>
        </p:spPr>
        <p:txBody>
          <a:bodyPr wrap="square" lIns="0" tIns="0" rIns="0" bIns="0" numCol="3" spcCol="914400">
            <a:spAutoFit/>
          </a:bodyPr>
          <a:lstStyle>
            <a:lvl1pPr marL="285750" indent="-285750" algn="ctr">
              <a:lnSpc>
                <a:spcPct val="100000"/>
              </a:lnSpc>
              <a:buClr>
                <a:srgbClr val="009CDE"/>
              </a:buClr>
              <a:buFont typeface="Arial"/>
              <a:buChar char="•"/>
              <a:defRPr sz="1800" b="1" normalizeH="0" baseline="0">
                <a:solidFill>
                  <a:schemeClr val="tx1"/>
                </a:solidFill>
                <a:latin typeface="Roboto Medium"/>
                <a:ea typeface="Roboto Slab" charset="0"/>
                <a:cs typeface="Roboto Medium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8920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 xmlns:p14="http://schemas.microsoft.com/office/powerpoint/2010/main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1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3984388202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1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89186082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. Content Slide -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4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937"/>
            <a:ext cx="8704734" cy="477054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 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 marL="7429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12001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6573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21145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2"/>
          <p:cNvSpPr>
            <a:spLocks noGrp="1"/>
          </p:cNvSpPr>
          <p:nvPr>
            <p:ph idx="14"/>
          </p:nvPr>
        </p:nvSpPr>
        <p:spPr>
          <a:xfrm>
            <a:off x="5636830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 marL="7429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12001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6573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2114550" indent="-285750">
              <a:buClr>
                <a:srgbClr val="009CDE"/>
              </a:buClr>
              <a:buFont typeface="Arial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290601423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. Conten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503" y="551631"/>
            <a:ext cx="3692013" cy="1243990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4000" b="0" baseline="0"/>
            </a:lvl1pPr>
          </a:lstStyle>
          <a:p>
            <a:r>
              <a:rPr lang="en-US" dirty="0"/>
              <a:t>Title slide goes here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67263" y="551631"/>
            <a:ext cx="6815137" cy="557453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/>
              <a:buChar char="•"/>
              <a:defRPr sz="2000" b="1">
                <a:solidFill>
                  <a:schemeClr val="tx1"/>
                </a:solidFill>
                <a:latin typeface="Roboto Medium"/>
                <a:cs typeface="Roboto Medium"/>
              </a:defRPr>
            </a:lvl1pPr>
            <a:lvl2pPr marL="742950" indent="-285750">
              <a:buClr>
                <a:srgbClr val="009CDE"/>
              </a:buClr>
              <a:buFont typeface="Arial"/>
              <a:buChar char="•"/>
              <a:defRPr sz="2000" b="1">
                <a:solidFill>
                  <a:schemeClr val="tx1"/>
                </a:solidFill>
                <a:latin typeface="Roboto Medium"/>
                <a:cs typeface="Roboto Medium"/>
              </a:defRPr>
            </a:lvl2pPr>
            <a:lvl3pPr marL="1200150" indent="-285750">
              <a:buClr>
                <a:srgbClr val="009CDE"/>
              </a:buClr>
              <a:buFont typeface="Arial"/>
              <a:buChar char="•"/>
              <a:defRPr sz="2000" b="1">
                <a:solidFill>
                  <a:schemeClr val="tx1"/>
                </a:solidFill>
                <a:latin typeface="Roboto Medium"/>
                <a:cs typeface="Roboto Medium"/>
              </a:defRPr>
            </a:lvl3pPr>
            <a:lvl4pPr marL="1657350" indent="-285750">
              <a:buClr>
                <a:srgbClr val="009CDE"/>
              </a:buClr>
              <a:buFont typeface="Arial"/>
              <a:buChar char="•"/>
              <a:defRPr sz="2000" b="1">
                <a:solidFill>
                  <a:schemeClr val="tx1"/>
                </a:solidFill>
                <a:latin typeface="Roboto Medium"/>
                <a:cs typeface="Roboto Medium"/>
              </a:defRPr>
            </a:lvl4pPr>
            <a:lvl5pPr marL="2114550" indent="-285750">
              <a:buClr>
                <a:srgbClr val="009CDE"/>
              </a:buClr>
              <a:buFont typeface="Arial"/>
              <a:buChar char="•"/>
              <a:defRPr sz="2000" b="1">
                <a:solidFill>
                  <a:schemeClr val="tx1"/>
                </a:solidFill>
                <a:latin typeface="Roboto Medium"/>
                <a:cs typeface="Roboto Medium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0"/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78503" y="1803815"/>
            <a:ext cx="3692014" cy="1055738"/>
          </a:xfrm>
          <a:prstGeom prst="rect">
            <a:avLst/>
          </a:prstGeom>
        </p:spPr>
        <p:txBody>
          <a:bodyPr lIns="0" tIns="22860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rgbClr val="009CDE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goes here – align top of subtitle box with bottom of title box. 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8708" y="6193618"/>
            <a:ext cx="2844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33D23-7979-984D-AD48-2B29D14C6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42967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CB16029_PPTTemplates_TitleAndDividers_AP-03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4430"/>
          </a:xfrm>
          <a:prstGeom prst="rect">
            <a:avLst/>
          </a:prstGeom>
        </p:spPr>
      </p:pic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1452549" y="1929788"/>
            <a:ext cx="3733800" cy="1301895"/>
          </a:xfrm>
        </p:spPr>
        <p:txBody>
          <a:bodyPr lIns="0" tIns="137160" rIns="0" bIns="0" anchor="t" anchorCtr="0">
            <a:spAutoFit/>
          </a:bodyPr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3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 dirty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52776" y="3236828"/>
            <a:ext cx="3733800" cy="1061829"/>
          </a:xfrm>
        </p:spPr>
        <p:txBody>
          <a:bodyPr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2" hasCustomPrompt="1"/>
          </p:nvPr>
        </p:nvSpPr>
        <p:spPr>
          <a:xfrm>
            <a:off x="1458686" y="4995272"/>
            <a:ext cx="3824287" cy="166199"/>
          </a:xfrm>
        </p:spPr>
        <p:txBody>
          <a:bodyPr lIns="0" tIns="0" rIns="0" bIns="0" anchor="b" anchorCtr="0">
            <a:sp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479728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. Content Slide -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8505" y="559824"/>
            <a:ext cx="3687096" cy="1429578"/>
          </a:xfrm>
          <a:prstGeom prst="rect">
            <a:avLst/>
          </a:prstGeom>
        </p:spPr>
        <p:txBody>
          <a:bodyPr lIns="0" tIns="0" rIns="0" bIns="0" anchor="b"/>
          <a:lstStyle>
            <a:lvl1pPr marL="0" indent="0" algn="l">
              <a:lnSpc>
                <a:spcPct val="90000"/>
              </a:lnSpc>
              <a:buFont typeface="+mj-lt"/>
              <a:buNone/>
              <a:defRPr sz="4800" b="0" baseline="0">
                <a:latin typeface="Roboto Slab Regular"/>
                <a:cs typeface="Roboto Slab Regular"/>
              </a:defRPr>
            </a:lvl1pPr>
          </a:lstStyle>
          <a:p>
            <a:r>
              <a:rPr lang="en-US" dirty="0"/>
              <a:t>Title slide goes here.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263" y="559824"/>
            <a:ext cx="6815137" cy="5566339"/>
          </a:xfrm>
          <a:prstGeom prst="rect">
            <a:avLst/>
          </a:prstGeom>
        </p:spPr>
        <p:txBody>
          <a:bodyPr lIns="0" tIns="228600" rIns="0" bIns="0"/>
          <a:lstStyle>
            <a:lvl1pPr marL="342900" indent="-342900">
              <a:buClr>
                <a:srgbClr val="009CDE"/>
              </a:buClr>
              <a:buFont typeface="Arial"/>
              <a:buChar char="•"/>
              <a:defRPr sz="2800">
                <a:latin typeface="Roboto Medium"/>
                <a:cs typeface="Roboto Medium"/>
              </a:defRPr>
            </a:lvl1pPr>
            <a:lvl2pPr marL="800100" indent="-342900">
              <a:buClr>
                <a:srgbClr val="009CDE"/>
              </a:buClr>
              <a:buFont typeface="Arial"/>
              <a:buChar char="•"/>
              <a:defRPr sz="2800">
                <a:latin typeface="Roboto Medium"/>
                <a:cs typeface="Roboto Medium"/>
              </a:defRPr>
            </a:lvl2pPr>
            <a:lvl3pPr marL="1257300" indent="-342900">
              <a:buClr>
                <a:srgbClr val="009CDE"/>
              </a:buClr>
              <a:buFont typeface="Arial"/>
              <a:buChar char="•"/>
              <a:defRPr sz="2800">
                <a:latin typeface="Roboto Medium"/>
                <a:cs typeface="Roboto Medium"/>
              </a:defRPr>
            </a:lvl3pPr>
            <a:lvl4pPr marL="1714500" indent="-342900">
              <a:buClr>
                <a:srgbClr val="009CDE"/>
              </a:buClr>
              <a:buFont typeface="Arial"/>
              <a:buChar char="•"/>
              <a:defRPr sz="2800">
                <a:latin typeface="Roboto Medium"/>
                <a:cs typeface="Roboto Medium"/>
              </a:defRPr>
            </a:lvl4pPr>
            <a:lvl5pPr marL="2171700" indent="-342900">
              <a:buClr>
                <a:srgbClr val="009CDE"/>
              </a:buClr>
              <a:buFont typeface="Arial"/>
              <a:buChar char="•"/>
              <a:defRPr sz="2800">
                <a:latin typeface="Roboto Medium"/>
                <a:cs typeface="Roboto Medium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78506" y="1989403"/>
            <a:ext cx="3687096" cy="1667580"/>
          </a:xfrm>
          <a:prstGeom prst="rect">
            <a:avLst/>
          </a:prstGeom>
        </p:spPr>
        <p:txBody>
          <a:bodyPr lIns="0" tIns="228600" rIns="0" bIns="0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000" b="1">
                <a:solidFill>
                  <a:srgbClr val="009CDE"/>
                </a:solidFill>
                <a:latin typeface="Roboto Slab Regular"/>
                <a:cs typeface="Roboto Slab Regular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US" dirty="0"/>
              <a:t>Subtitle goes here – align top of subtitle box with bottom of title box. 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893263" y="6192475"/>
            <a:ext cx="2844800" cy="365125"/>
          </a:xfrm>
        </p:spPr>
        <p:txBody>
          <a:bodyPr/>
          <a:lstStyle/>
          <a:p>
            <a:fld id="{58B64256-0847-0E43-8322-5E20E92606A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97599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— 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 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8134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</p:spTree>
    <p:extLst>
      <p:ext uri="{BB962C8B-B14F-4D97-AF65-F5344CB8AC3E}">
        <p14:creationId xmlns:p14="http://schemas.microsoft.com/office/powerpoint/2010/main" val="1595301692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31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>
              <a:tabLst>
                <a:tab pos="2743200" algn="r"/>
              </a:tabLst>
            </a:pP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 algn="l">
                <a:tabLst>
                  <a:tab pos="2743200" algn="r"/>
                </a:tabLst>
              </a:pPr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446928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9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776646290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20935"/>
            <a:ext cx="3741179" cy="3507166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525305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3891059233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8320929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525305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2852271288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Two Column w/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8320929" y="555809"/>
            <a:ext cx="3412579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66611" y="2420935"/>
            <a:ext cx="3741179" cy="3507166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525305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72922843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2581961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773478" y="3137770"/>
            <a:ext cx="6960030" cy="2774515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525305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2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3884063123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Two Rows w/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2581961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773478" y="3137770"/>
            <a:ext cx="6960030" cy="2774515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5"/>
          </p:nvPr>
        </p:nvSpPr>
        <p:spPr>
          <a:xfrm>
            <a:off x="466611" y="2420935"/>
            <a:ext cx="3741179" cy="3507166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 b="0" i="0">
                <a:latin typeface="Arial" charset="0"/>
                <a:ea typeface="Arial" charset="0"/>
                <a:cs typeface="Arial" charset="0"/>
              </a:defRPr>
            </a:lvl1pPr>
            <a:lvl2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2pPr>
            <a:lvl3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3pPr>
            <a:lvl4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4pPr>
            <a:lvl5pPr>
              <a:buClr>
                <a:schemeClr val="accent2"/>
              </a:buClr>
              <a:defRPr sz="1600" b="0" i="0"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525305"/>
            <a:ext cx="3741738" cy="895630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 i="0">
                <a:solidFill>
                  <a:schemeClr val="accent1"/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3" name="Title 7"/>
          <p:cNvSpPr>
            <a:spLocks noGrp="1"/>
          </p:cNvSpPr>
          <p:nvPr>
            <p:ph type="title" hasCustomPrompt="1"/>
          </p:nvPr>
        </p:nvSpPr>
        <p:spPr>
          <a:xfrm>
            <a:off x="466726" y="555809"/>
            <a:ext cx="3741737" cy="969496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3000" b="0" i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/>
              <a:t>Title of slide</a:t>
            </a:r>
            <a:br>
              <a:rPr lang="en-US" dirty="0"/>
            </a:br>
            <a:r>
              <a:rPr lang="en-US" dirty="0"/>
              <a:t>goes here.</a:t>
            </a:r>
          </a:p>
        </p:txBody>
      </p:sp>
    </p:spTree>
    <p:extLst>
      <p:ext uri="{BB962C8B-B14F-4D97-AF65-F5344CB8AC3E}">
        <p14:creationId xmlns:p14="http://schemas.microsoft.com/office/powerpoint/2010/main" val="674828315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8" y="6193618"/>
            <a:ext cx="2743200" cy="365125"/>
          </a:xfrm>
        </p:spPr>
        <p:txBody>
          <a:bodyPr/>
          <a:lstStyle/>
          <a:p>
            <a:pPr algn="l">
              <a:tabLst>
                <a:tab pos="2743200" algn="r"/>
              </a:tabLst>
            </a:pPr>
            <a:r>
              <a:rPr lang="en-US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 algn="l">
                <a:tabLst>
                  <a:tab pos="2743200" algn="r"/>
                </a:tabLst>
              </a:pPr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524748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8" y="6282608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1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604075609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 with Image — 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58635" y="617802"/>
            <a:ext cx="4471173" cy="1301895"/>
          </a:xfrm>
        </p:spPr>
        <p:txBody>
          <a:bodyPr wrap="square" lIns="0" tIns="137160" rIns="0" bIns="0" anchor="t" anchorCtr="0">
            <a:spAutoFit/>
          </a:bodyPr>
          <a:lstStyle>
            <a:lvl1pPr>
              <a:defRPr sz="4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</a:t>
            </a:r>
            <a:br>
              <a:rPr lang="en-US" dirty="0"/>
            </a:br>
            <a:r>
              <a:rPr lang="en-US" dirty="0"/>
              <a:t>You.</a:t>
            </a:r>
          </a:p>
        </p:txBody>
      </p:sp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3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 dirty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58862" y="1924842"/>
            <a:ext cx="4471173" cy="507831"/>
          </a:xfr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itional information if necessary.</a:t>
            </a:r>
          </a:p>
        </p:txBody>
      </p:sp>
    </p:spTree>
    <p:extLst>
      <p:ext uri="{BB962C8B-B14F-4D97-AF65-F5344CB8AC3E}">
        <p14:creationId xmlns:p14="http://schemas.microsoft.com/office/powerpoint/2010/main" val="6402933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— No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B16029_PPTTemplates_TitleAndDividers_AP-14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4430"/>
          </a:xfrm>
          <a:prstGeom prst="rect">
            <a:avLst/>
          </a:prstGeom>
        </p:spPr>
      </p:pic>
      <p:sp>
        <p:nvSpPr>
          <p:cNvPr id="13" name="Title 7"/>
          <p:cNvSpPr txBox="1">
            <a:spLocks/>
          </p:cNvSpPr>
          <p:nvPr userDrawn="1"/>
        </p:nvSpPr>
        <p:spPr>
          <a:xfrm>
            <a:off x="925286" y="4762953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 dirty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1454000" y="1913822"/>
            <a:ext cx="4001193" cy="1301895"/>
          </a:xfrm>
          <a:prstGeom prst="rect">
            <a:avLst/>
          </a:prstGeom>
        </p:spPr>
        <p:txBody>
          <a:bodyPr wrap="square" lIns="0" tIns="137160" rIns="0" bIns="0" anchor="t" anchorCtr="0">
            <a:spAutoFit/>
          </a:bodyPr>
          <a:lstStyle>
            <a:lvl1pPr>
              <a:defRPr sz="420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dirty="0"/>
              <a:t>Divider, call-out, etc.</a:t>
            </a:r>
          </a:p>
        </p:txBody>
      </p:sp>
      <p:sp>
        <p:nvSpPr>
          <p:cNvPr id="11" name="Title 7"/>
          <p:cNvSpPr txBox="1">
            <a:spLocks/>
          </p:cNvSpPr>
          <p:nvPr userDrawn="1"/>
        </p:nvSpPr>
        <p:spPr>
          <a:xfrm>
            <a:off x="925286" y="4762953"/>
            <a:ext cx="3733800" cy="38598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200" b="0" i="0" kern="1200">
                <a:solidFill>
                  <a:schemeClr val="bg1"/>
                </a:solidFill>
                <a:latin typeface="Roboto Slab Regular" charset="0"/>
                <a:ea typeface="+mj-ea"/>
                <a:cs typeface="+mj-cs"/>
              </a:defRPr>
            </a:lvl1pPr>
          </a:lstStyle>
          <a:p>
            <a:endParaRPr lang="en-US" sz="1600" b="0" dirty="0">
              <a:solidFill>
                <a:schemeClr val="accent3"/>
              </a:solidFill>
              <a:latin typeface="Roboto" charset="0"/>
              <a:ea typeface="Roboto" charset="0"/>
              <a:cs typeface="Roboto" charset="0"/>
            </a:endParaRPr>
          </a:p>
        </p:txBody>
      </p:sp>
      <p:sp>
        <p:nvSpPr>
          <p:cNvPr id="12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1454227" y="3220862"/>
            <a:ext cx="4001193" cy="784830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800" b="1" normalizeH="0" baseline="0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</p:spTree>
    <p:extLst>
      <p:ext uri="{BB962C8B-B14F-4D97-AF65-F5344CB8AC3E}">
        <p14:creationId xmlns:p14="http://schemas.microsoft.com/office/powerpoint/2010/main" val="5861017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. Content Slide - Para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990308" y="6282608"/>
            <a:ext cx="2844800" cy="365125"/>
          </a:xfrm>
          <a:prstGeom prst="rect">
            <a:avLst/>
          </a:prstGeom>
        </p:spPr>
        <p:txBody>
          <a:bodyPr/>
          <a:lstStyle/>
          <a:p>
            <a:fld id="{C1E9C267-FC72-D447-BF05-09A3351C68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149061"/>
            <a:ext cx="8704734" cy="477054"/>
          </a:xfrm>
          <a:prstGeom prst="rect">
            <a:avLst/>
          </a:prstGeom>
          <a:noFill/>
        </p:spPr>
        <p:txBody>
          <a:bodyPr wrap="square" lIns="0" tIns="228600" rIns="0" bIns="0">
            <a:spAutoFit/>
          </a:bodyPr>
          <a:lstStyle>
            <a:lvl1pPr marL="0" indent="0">
              <a:buNone/>
              <a:defRPr sz="1600" b="1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 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4" hasCustomPrompt="1"/>
          </p:nvPr>
        </p:nvSpPr>
        <p:spPr>
          <a:xfrm>
            <a:off x="466725" y="1917290"/>
            <a:ext cx="4884018" cy="4185943"/>
          </a:xfrm>
          <a:prstGeom prst="rect">
            <a:avLst/>
          </a:prstGeom>
        </p:spPr>
        <p:txBody>
          <a:bodyPr lIns="0" tIns="228600" rIns="0" bIns="0"/>
          <a:lstStyle>
            <a:lvl1pPr marL="0" indent="0">
              <a:lnSpc>
                <a:spcPct val="100000"/>
              </a:lnSpc>
              <a:buClr>
                <a:schemeClr val="accent2"/>
              </a:buClr>
              <a:buFont typeface="Arial" charset="0"/>
              <a:buNone/>
              <a:defRPr sz="1600" baseline="0">
                <a:solidFill>
                  <a:srgbClr val="009CDE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4572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2pPr>
            <a:lvl3pPr marL="9144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3pPr>
            <a:lvl4pPr marL="13716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4pPr>
            <a:lvl5pPr marL="1828800" indent="0">
              <a:buClr>
                <a:schemeClr val="accent2"/>
              </a:buClr>
              <a:buNone/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Paragraph describing content to the right. 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5"/>
          </p:nvPr>
        </p:nvSpPr>
        <p:spPr>
          <a:xfrm>
            <a:off x="5636830" y="1917290"/>
            <a:ext cx="6096678" cy="4185943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rgbClr val="009CDE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466725" y="646979"/>
            <a:ext cx="7697872" cy="494764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None/>
              <a:defRPr sz="3600" baseline="0">
                <a:latin typeface="Roboto Slab Regular"/>
                <a:cs typeface="Roboto Slab Regular"/>
              </a:defRPr>
            </a:lvl1pPr>
          </a:lstStyle>
          <a:p>
            <a:pPr lvl="0"/>
            <a:r>
              <a:rPr lang="en-US" dirty="0"/>
              <a:t>Title of slide goes here.</a:t>
            </a:r>
          </a:p>
        </p:txBody>
      </p:sp>
    </p:spTree>
    <p:extLst>
      <p:ext uri="{BB962C8B-B14F-4D97-AF65-F5344CB8AC3E}">
        <p14:creationId xmlns:p14="http://schemas.microsoft.com/office/powerpoint/2010/main" val="608292291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. Statement Slide - No Image,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179486" y="2043974"/>
            <a:ext cx="7630887" cy="807382"/>
          </a:xfrm>
          <a:prstGeom prst="rect">
            <a:avLst/>
          </a:prstGeom>
        </p:spPr>
        <p:txBody>
          <a:bodyPr lIns="0" tIns="137160" rIns="0" bIns="0"/>
          <a:lstStyle>
            <a:lvl1pPr algn="ctr">
              <a:defRPr sz="4200" baseline="0">
                <a:solidFill>
                  <a:schemeClr val="tx1"/>
                </a:solidFill>
                <a:latin typeface="Roboto Slab Regular"/>
                <a:cs typeface="Roboto Slab Regular"/>
              </a:defRPr>
            </a:lvl1pPr>
          </a:lstStyle>
          <a:p>
            <a:r>
              <a:rPr lang="en-US" dirty="0"/>
              <a:t>Statement goes here.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84323" y="6193618"/>
            <a:ext cx="2844800" cy="365125"/>
          </a:xfrm>
        </p:spPr>
        <p:txBody>
          <a:bodyPr lIns="0" tIns="0" rIns="0" bIns="0" anchor="b"/>
          <a:lstStyle/>
          <a:p>
            <a:fld id="{E58C0DC8-E089-4D4A-A71C-1ACF76415CE6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2179486" y="1923691"/>
            <a:ext cx="7630887" cy="1119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2179485" y="2851356"/>
            <a:ext cx="7630888" cy="507831"/>
          </a:xfrm>
          <a:prstGeom prst="rect">
            <a:avLst/>
          </a:prstGeom>
        </p:spPr>
        <p:txBody>
          <a:bodyPr wrap="square" lIns="0" tIns="228600" rIns="0" bIns="0">
            <a:spAutoFit/>
          </a:bodyPr>
          <a:lstStyle>
            <a:lvl1pPr marL="0" indent="0" algn="ctr">
              <a:lnSpc>
                <a:spcPct val="100000"/>
              </a:lnSpc>
              <a:buNone/>
              <a:defRPr sz="1800" b="1" normalizeH="0" baseline="0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11" name="Text Placeholder 16"/>
          <p:cNvSpPr>
            <a:spLocks noGrp="1"/>
          </p:cNvSpPr>
          <p:nvPr>
            <p:ph type="body" sz="quarter" idx="13" hasCustomPrompt="1"/>
          </p:nvPr>
        </p:nvSpPr>
        <p:spPr>
          <a:xfrm>
            <a:off x="1077743" y="4077111"/>
            <a:ext cx="10036514" cy="609398"/>
          </a:xfrm>
          <a:prstGeom prst="rect">
            <a:avLst/>
          </a:prstGeom>
        </p:spPr>
        <p:txBody>
          <a:bodyPr wrap="square" lIns="0" tIns="0" rIns="0" bIns="0" numCol="3" spcCol="914400">
            <a:spAutoFit/>
          </a:bodyPr>
          <a:lstStyle>
            <a:lvl1pPr marL="285750" indent="-285750" algn="ctr">
              <a:lnSpc>
                <a:spcPct val="100000"/>
              </a:lnSpc>
              <a:buClr>
                <a:srgbClr val="009CDE"/>
              </a:buClr>
              <a:buFont typeface="Arial"/>
              <a:buChar char="•"/>
              <a:defRPr sz="1800" b="1" normalizeH="0" baseline="0">
                <a:solidFill>
                  <a:schemeClr val="tx1"/>
                </a:solidFill>
                <a:latin typeface="Roboto Medium"/>
                <a:ea typeface="Roboto Slab" charset="0"/>
                <a:cs typeface="Roboto Medium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Bullet points go here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0044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02534061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 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</p:spTree>
    <p:extLst>
      <p:ext uri="{BB962C8B-B14F-4D97-AF65-F5344CB8AC3E}">
        <p14:creationId xmlns:p14="http://schemas.microsoft.com/office/powerpoint/2010/main" val="395227861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— 1 Column with 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773478" y="555809"/>
            <a:ext cx="6960030" cy="5372292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add text or conten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7ED8CA-143E-8B40-B3C8-0174DDF149EE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66611" y="555809"/>
            <a:ext cx="3741179" cy="1135696"/>
          </a:xfrm>
          <a:prstGeom prst="rect">
            <a:avLst/>
          </a:prstGeom>
        </p:spPr>
        <p:txBody>
          <a:bodyPr lIns="0" tIns="137160" rIns="0" bIns="0">
            <a:spAutoFit/>
          </a:bodyPr>
          <a:lstStyle>
            <a:lvl1pPr>
              <a:defRPr sz="3200" baseline="0">
                <a:solidFill>
                  <a:schemeClr val="tx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r>
              <a:rPr lang="en-US" sz="3600" dirty="0">
                <a:latin typeface="Roboto Slab" charset="0"/>
                <a:ea typeface="Roboto Slab" charset="0"/>
                <a:cs typeface="Roboto Slab" charset="0"/>
              </a:rPr>
              <a:t>Title of slide goes here.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466725" y="1692275"/>
            <a:ext cx="3741738" cy="674031"/>
          </a:xfrm>
          <a:prstGeom prst="rect">
            <a:avLst/>
          </a:prstGeom>
        </p:spPr>
        <p:txBody>
          <a:bodyPr lIns="0" tIns="228600" rIns="0" bIns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pPr lvl="0"/>
            <a:r>
              <a:rPr lang="en-US" dirty="0"/>
              <a:t>Subtitle goes here — align top of subtitle box with bottom of title box.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466611" y="2481943"/>
            <a:ext cx="3741179" cy="3446158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>
              <a:buClr>
                <a:schemeClr val="accent2"/>
              </a:buClr>
              <a:buFont typeface="Arial" charset="0"/>
              <a:buChar char="•"/>
              <a:defRPr sz="1600">
                <a:latin typeface="Roboto" charset="0"/>
                <a:ea typeface="Roboto" charset="0"/>
                <a:cs typeface="Roboto" charset="0"/>
              </a:defRPr>
            </a:lvl1pPr>
            <a:lvl2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2pPr>
            <a:lvl3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3pPr>
            <a:lvl4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4pPr>
            <a:lvl5pPr>
              <a:buClr>
                <a:schemeClr val="accent2"/>
              </a:buClr>
              <a:defRPr sz="1600">
                <a:latin typeface="Roboto" charset="0"/>
                <a:ea typeface="Roboto" charset="0"/>
                <a:cs typeface="Roboto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9185449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image" Target="../media/image5.jpg"/><Relationship Id="rId5" Type="http://schemas.openxmlformats.org/officeDocument/2006/relationships/slideLayout" Target="../slideLayouts/slideLayout1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heme" Target="../theme/theme7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5.jp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image" Target="../media/image6.emf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26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25.xml"/><Relationship Id="rId9" Type="http://schemas.openxmlformats.org/officeDocument/2006/relationships/theme" Target="../theme/theme8.xml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B16029_PPTTemplates_TitleAndDividers_AP-13.jp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0722" cy="6858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633253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674" r:id="rId2"/>
    <p:sldLayoutId id="214748373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Roboto Slab Regular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b="0" i="0" kern="1200">
          <a:solidFill>
            <a:schemeClr val="tx1"/>
          </a:solidFill>
          <a:latin typeface="Roboto Slab Regular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b="0" i="0" kern="1200">
          <a:solidFill>
            <a:schemeClr val="tx1"/>
          </a:solidFill>
          <a:latin typeface="Roboto Slab Regular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b="0" i="0" kern="1200">
          <a:solidFill>
            <a:schemeClr val="tx1"/>
          </a:solidFill>
          <a:latin typeface="Roboto Slab Regular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Roboto Slab Regular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b="0" i="0" kern="1200">
          <a:solidFill>
            <a:schemeClr val="tx1"/>
          </a:solidFill>
          <a:latin typeface="Roboto Slab Regular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33152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81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D327DF-DF39-C949-8771-234F28D66E7D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CB_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67" y="6269614"/>
            <a:ext cx="1292760" cy="37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46031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9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CB16029_PPTTemplates_TitleAndDividers_AP-02.jpg"/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443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90308" y="6193618"/>
            <a:ext cx="2743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Roboto Slab" charset="0"/>
                <a:ea typeface="Roboto Slab" charset="0"/>
                <a:cs typeface="Roboto Slab" charset="0"/>
              </a:defRPr>
            </a:lvl1pPr>
          </a:lstStyle>
          <a:p>
            <a:fld id="{017ED8CA-143E-8B40-B3C8-0174DDF149E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0793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6" r:id="rId2"/>
    <p:sldLayoutId id="2147483735" r:id="rId3"/>
    <p:sldLayoutId id="2147483737" r:id="rId4"/>
    <p:sldLayoutId id="2147483738" r:id="rId5"/>
    <p:sldLayoutId id="2147483739" r:id="rId6"/>
    <p:sldLayoutId id="2147483733" r:id="rId7"/>
    <p:sldLayoutId id="2147483810" r:id="rId8"/>
    <p:sldLayoutId id="2147483812" r:id="rId9"/>
  </p:sldLayoutIdLst>
  <p:transition spd="slow">
    <p:push dir="u"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90308" y="6282608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1E9C267-FC72-D447-BF05-09A3351C68CB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466611" y="464489"/>
            <a:ext cx="6276679" cy="8774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5" name="Picture 4" descr="CB_Logo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167" y="6269614"/>
            <a:ext cx="1292760" cy="3781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62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</p:sldLayoutIdLst>
  <p:transition spd="slow">
    <p:push dir="u"/>
  </p:transition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B16029_PPTTemplates_TitleAndDividers_AP-02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443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88708" y="6193618"/>
            <a:ext cx="2844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733D23-7979-984D-AD48-2B29D14C635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95197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4" r:id="rId1"/>
  </p:sldLayoutIdLst>
  <p:transition spd="slow">
    <p:push dir="u"/>
  </p:transition>
  <p:hf hdr="0" ftr="0" dt="0"/>
  <p:txStyles>
    <p:titleStyle>
      <a:lvl1pPr algn="l" defTabSz="457200" rtl="0" eaLnBrk="1" latinLnBrk="0" hangingPunct="1">
        <a:lnSpc>
          <a:spcPct val="90000"/>
        </a:lnSpc>
        <a:spcBef>
          <a:spcPct val="0"/>
        </a:spcBef>
        <a:buNone/>
        <a:defRPr sz="3800" kern="1200" baseline="0">
          <a:solidFill>
            <a:schemeClr val="tx1"/>
          </a:solidFill>
          <a:latin typeface="Roboto Slab Regular"/>
          <a:ea typeface="+mj-ea"/>
          <a:cs typeface="Roboto Slab Regular"/>
        </a:defRPr>
      </a:lvl1pPr>
    </p:titleStyle>
    <p:bodyStyle>
      <a:lvl1pPr marL="0" marR="0" indent="0" algn="l" defTabSz="4572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 typeface="Arial"/>
        <a:buNone/>
        <a:tabLst/>
        <a:defRPr sz="1800" kern="1200" baseline="0">
          <a:solidFill>
            <a:srgbClr val="702F8A"/>
          </a:solidFill>
          <a:latin typeface="Roboto Slab Regular"/>
          <a:ea typeface="+mn-ea"/>
          <a:cs typeface="Roboto Slab Regular"/>
        </a:defRPr>
      </a:lvl1pPr>
      <a:lvl2pPr marL="4572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rgbClr val="702F8A"/>
          </a:solidFill>
          <a:latin typeface="Roboto Slab Regular"/>
          <a:ea typeface="+mn-ea"/>
          <a:cs typeface="Roboto Slab Regular"/>
        </a:defRPr>
      </a:lvl2pPr>
      <a:lvl3pPr marL="9144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rgbClr val="702F8A"/>
          </a:solidFill>
          <a:latin typeface="Roboto Slab Regular"/>
          <a:ea typeface="+mn-ea"/>
          <a:cs typeface="Roboto Slab Regular"/>
        </a:defRPr>
      </a:lvl3pPr>
      <a:lvl4pPr marL="13716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rgbClr val="702F8A"/>
          </a:solidFill>
          <a:latin typeface="Roboto Slab Regular"/>
          <a:ea typeface="+mn-ea"/>
          <a:cs typeface="Roboto Slab Regular"/>
        </a:defRPr>
      </a:lvl4pPr>
      <a:lvl5pPr marL="1828800" indent="0" algn="l" defTabSz="457200" rtl="0" eaLnBrk="1" latinLnBrk="0" hangingPunct="1">
        <a:spcBef>
          <a:spcPct val="20000"/>
        </a:spcBef>
        <a:buFont typeface="Arial"/>
        <a:buNone/>
        <a:defRPr sz="1600" kern="1200">
          <a:solidFill>
            <a:srgbClr val="702F8A"/>
          </a:solidFill>
          <a:latin typeface="Roboto Slab Regular"/>
          <a:ea typeface="+mn-ea"/>
          <a:cs typeface="Roboto Slab Regular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CB16029_PPTTemplates_TitleAndDividers_AP-02.jp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443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83407" y="6192475"/>
            <a:ext cx="2844800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8B64256-0847-0E43-8322-5E20E92606A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7806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6" r:id="rId1"/>
    <p:sldLayoutId id="2147483807" r:id="rId2"/>
  </p:sldLayoutIdLst>
  <p:transition spd="slow">
    <p:push dir="u"/>
  </p:transition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7"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990308" y="6193618"/>
            <a:ext cx="2743200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1200" b="1" i="0">
                <a:solidFill>
                  <a:schemeClr val="tx1">
                    <a:tint val="75000"/>
                  </a:schemeClr>
                </a:solidFill>
                <a:latin typeface="Verdana Bold" charset="0"/>
                <a:ea typeface="Verdana Bold" charset="0"/>
                <a:cs typeface="Verdana Bold" charset="0"/>
              </a:defRPr>
            </a:lvl1pPr>
          </a:lstStyle>
          <a:p>
            <a:pPr algn="l">
              <a:tabLst>
                <a:tab pos="2743200" algn="r"/>
              </a:tabLst>
            </a:pPr>
            <a:r>
              <a:rPr lang="en-US" dirty="0">
                <a:solidFill>
                  <a:srgbClr val="FF0000"/>
                </a:solidFill>
              </a:rPr>
              <a:t>	</a:t>
            </a:r>
            <a:fld id="{017ED8CA-143E-8B40-B3C8-0174DDF149EE}" type="slidenum">
              <a:rPr lang="en-US" smtClean="0">
                <a:solidFill>
                  <a:srgbClr val="1E1E1E">
                    <a:tint val="75000"/>
                  </a:srgbClr>
                </a:solidFill>
              </a:rPr>
              <a:pPr algn="l">
                <a:tabLst>
                  <a:tab pos="2743200" algn="r"/>
                </a:tabLst>
              </a:pPr>
              <a:t>‹#›</a:t>
            </a:fld>
            <a:endParaRPr lang="en-US" dirty="0">
              <a:solidFill>
                <a:srgbClr val="1E1E1E">
                  <a:tint val="75000"/>
                </a:srgbClr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785"/>
            <a:ext cx="12192000" cy="6854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514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</p:sldLayoutIdLst>
  <p:transition spd="slow">
    <p:push dir="u"/>
  </p:transition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6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8.png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6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g"/><Relationship Id="rId3" Type="http://schemas.openxmlformats.org/officeDocument/2006/relationships/tags" Target="../tags/tag9.xml"/><Relationship Id="rId7" Type="http://schemas.openxmlformats.org/officeDocument/2006/relationships/hyperlink" Target="https://youtu.be/czGI4znX9Tg" TargetMode="Externa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7" Type="http://schemas.openxmlformats.org/officeDocument/2006/relationships/image" Target="../media/image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0.png"/><Relationship Id="rId4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12188950" cy="6857998"/>
          </a:xfrm>
          <a:prstGeom prst="rect">
            <a:avLst/>
          </a:prstGeom>
        </p:spPr>
      </p:pic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61862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4400" dirty="0">
              <a:latin typeface="Roboto Slab Regular" pitchFamily="2" charset="0"/>
              <a:ea typeface="+mj-ea"/>
              <a:cs typeface="+mj-cs"/>
              <a:sym typeface="Roboto Slab Regular" pitchFamily="2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3059" y="617802"/>
            <a:ext cx="4471173" cy="1966692"/>
          </a:xfrm>
        </p:spPr>
        <p:txBody>
          <a:bodyPr/>
          <a:lstStyle/>
          <a:p>
            <a:r>
              <a:rPr lang="en-US" sz="4400" dirty="0"/>
              <a:t>New Resources, Support, and Processes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64773" y="2584494"/>
            <a:ext cx="4471173" cy="507831"/>
          </a:xfrm>
        </p:spPr>
        <p:txBody>
          <a:bodyPr/>
          <a:lstStyle/>
          <a:p>
            <a:r>
              <a:rPr lang="en-US" dirty="0">
                <a:solidFill>
                  <a:srgbClr val="009CDE"/>
                </a:solidFill>
              </a:rPr>
              <a:t>Launching in 2019-20</a:t>
            </a:r>
            <a:endParaRPr lang="en-US" baseline="30000" dirty="0"/>
          </a:p>
        </p:txBody>
      </p:sp>
    </p:spTree>
    <p:extLst>
      <p:ext uri="{BB962C8B-B14F-4D97-AF65-F5344CB8AC3E}">
        <p14:creationId xmlns:p14="http://schemas.microsoft.com/office/powerpoint/2010/main" val="1899816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>
          <a:xfrm>
            <a:off x="1311043" y="2032634"/>
            <a:ext cx="9320460" cy="2832322"/>
          </a:xfrm>
        </p:spPr>
        <p:txBody>
          <a:bodyPr/>
          <a:lstStyle/>
          <a:p>
            <a:pPr marL="0" indent="0">
              <a:lnSpc>
                <a:spcPct val="120000"/>
              </a:lnSpc>
              <a:spcBef>
                <a:spcPts val="0"/>
              </a:spcBef>
            </a:pPr>
            <a:r>
              <a:rPr lang="en-US" sz="3600" dirty="0"/>
              <a:t>A system of resources and supports </a:t>
            </a:r>
            <a:br>
              <a:rPr lang="en-US" sz="3600" dirty="0"/>
            </a:br>
            <a:r>
              <a:rPr lang="en-US" sz="3600" dirty="0"/>
              <a:t>for all AP students, teachers, </a:t>
            </a:r>
            <a:br>
              <a:rPr lang="en-US" sz="3600" dirty="0"/>
            </a:br>
            <a:r>
              <a:rPr lang="en-US" sz="3600" dirty="0"/>
              <a:t>and coordinators launches in </a:t>
            </a:r>
            <a:br>
              <a:rPr lang="en-US" sz="3600" dirty="0"/>
            </a:br>
            <a:r>
              <a:rPr lang="en-US" sz="3600" b="1" dirty="0">
                <a:solidFill>
                  <a:srgbClr val="009CDE"/>
                </a:solidFill>
              </a:rPr>
              <a:t>2019–2020</a:t>
            </a:r>
            <a:r>
              <a:rPr lang="en-US" sz="3600" dirty="0"/>
              <a:t>.</a:t>
            </a:r>
            <a:endParaRPr lang="en-US" sz="3600" dirty="0">
              <a:latin typeface="Roboto Slab Regular" pitchFamily="2" charset="0"/>
              <a:ea typeface="Roboto Slab Regular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1704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9904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00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Roboto Slab"/>
              <a:ea typeface="Roboto Slab"/>
              <a:sym typeface="Roboto Slab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611" y="555809"/>
            <a:ext cx="3741179" cy="1024896"/>
          </a:xfrm>
        </p:spPr>
        <p:txBody>
          <a:bodyPr/>
          <a:lstStyle/>
          <a:p>
            <a:r>
              <a:rPr lang="en-US" dirty="0"/>
              <a:t>Educator-driven chang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6725" y="1511066"/>
            <a:ext cx="3741738" cy="678134"/>
          </a:xfrm>
        </p:spPr>
        <p:txBody>
          <a:bodyPr/>
          <a:lstStyle/>
          <a:p>
            <a:r>
              <a:rPr lang="en-US" dirty="0">
                <a:solidFill>
                  <a:srgbClr val="009CDE"/>
                </a:solidFill>
              </a:rPr>
              <a:t>Educators know the support they </a:t>
            </a:r>
            <a:br>
              <a:rPr lang="en-US" dirty="0">
                <a:solidFill>
                  <a:srgbClr val="009CDE"/>
                </a:solidFill>
              </a:rPr>
            </a:br>
            <a:r>
              <a:rPr lang="en-US" dirty="0">
                <a:solidFill>
                  <a:srgbClr val="009CDE"/>
                </a:solidFill>
              </a:rPr>
              <a:t>want—so we listened and learned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4"/>
          </p:nvPr>
        </p:nvSpPr>
        <p:spPr>
          <a:xfrm>
            <a:off x="4773478" y="1396766"/>
            <a:ext cx="6960030" cy="277451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Effective resources, better support, and meaningful feedback</a:t>
            </a:r>
          </a:p>
          <a:p>
            <a:pPr>
              <a:lnSpc>
                <a:spcPct val="100000"/>
              </a:lnSpc>
            </a:pPr>
            <a:r>
              <a:rPr lang="en-US" dirty="0"/>
              <a:t>Options to help students at varying levels of readiness learn college-level concepts</a:t>
            </a:r>
          </a:p>
          <a:p>
            <a:pPr>
              <a:lnSpc>
                <a:spcPct val="100000"/>
              </a:lnSpc>
            </a:pPr>
            <a:r>
              <a:rPr lang="en-US" dirty="0"/>
              <a:t>Strategies for building and sustaining student engagement</a:t>
            </a:r>
          </a:p>
          <a:p>
            <a:pPr>
              <a:lnSpc>
                <a:spcPct val="100000"/>
              </a:lnSpc>
            </a:pPr>
            <a:r>
              <a:rPr lang="en-US" dirty="0"/>
              <a:t>Faster, easier exam ordering and administration processes</a:t>
            </a:r>
          </a:p>
          <a:p>
            <a:pPr marL="0" indent="0">
              <a:lnSpc>
                <a:spcPct val="100000"/>
              </a:lnSpc>
              <a:buNone/>
            </a:pPr>
            <a:endParaRPr lang="en-US" dirty="0"/>
          </a:p>
          <a:p>
            <a:endParaRPr lang="en-US" dirty="0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4773478" y="660291"/>
            <a:ext cx="6960030" cy="1036460"/>
          </a:xfrm>
          <a:prstGeom prst="rect">
            <a:avLst/>
          </a:prstGeom>
        </p:spPr>
        <p:txBody>
          <a:bodyPr lIns="0" tIns="228600" rIns="0" bIns="0"/>
          <a:lstStyle>
            <a:lvl1pPr marL="285750" indent="-2857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Arial"/>
              <a:buChar char="•"/>
              <a:defRPr sz="1600" kern="1200">
                <a:solidFill>
                  <a:schemeClr val="tx1"/>
                </a:solidFill>
                <a:latin typeface="Roboto" charset="0"/>
                <a:ea typeface="Roboto" charset="0"/>
                <a:cs typeface="Roboto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spcBef>
                <a:spcPts val="0"/>
              </a:spcBef>
              <a:buNone/>
            </a:pPr>
            <a:r>
              <a:rPr lang="en-US" b="1" dirty="0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rPr>
              <a:t>Each year, thousands of teachers, AP coordinators, and school leaders share feedback about the AP</a:t>
            </a:r>
            <a:r>
              <a:rPr lang="en-US" b="1" baseline="30000" dirty="0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rPr>
              <a:t>® </a:t>
            </a:r>
            <a:r>
              <a:rPr lang="en-US" b="1" dirty="0">
                <a:solidFill>
                  <a:srgbClr val="009CDE"/>
                </a:solidFill>
                <a:latin typeface="Roboto Slab" charset="0"/>
                <a:ea typeface="Roboto Slab" charset="0"/>
                <a:cs typeface="Roboto Slab" charset="0"/>
              </a:rPr>
              <a:t>program. They ask for:</a:t>
            </a:r>
            <a:endParaRPr lang="en-US" dirty="0">
              <a:solidFill>
                <a:srgbClr val="009C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4605834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962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dirty="0">
              <a:latin typeface="Roboto Slab"/>
              <a:ea typeface="Roboto Slab"/>
              <a:sym typeface="Roboto Slab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6611" y="555809"/>
            <a:ext cx="3741179" cy="1024896"/>
          </a:xfrm>
        </p:spPr>
        <p:txBody>
          <a:bodyPr/>
          <a:lstStyle/>
          <a:p>
            <a:r>
              <a:rPr lang="en-US" dirty="0"/>
              <a:t>See what’s on               the way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6725" y="1524261"/>
            <a:ext cx="3741738" cy="452432"/>
          </a:xfrm>
        </p:spPr>
        <p:txBody>
          <a:bodyPr/>
          <a:lstStyle/>
          <a:p>
            <a:r>
              <a:rPr lang="en-US" dirty="0"/>
              <a:t>For all schools in 2019-20</a:t>
            </a:r>
          </a:p>
        </p:txBody>
      </p:sp>
      <p:pic>
        <p:nvPicPr>
          <p:cNvPr id="9" name="Picture 8" descr="ap-fym-video-modal-thumbnail.jpg">
            <a:hlinkClick r:id="rId7"/>
            <a:hlinkHover r:id="" action="ppaction://noaction" highlightClick="1"/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704" y="765521"/>
            <a:ext cx="6980893" cy="3502957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891440F7-EB7A-4A05-A70A-3F101B4A7004}"/>
              </a:ext>
            </a:extLst>
          </p:cNvPr>
          <p:cNvSpPr txBox="1"/>
          <p:nvPr/>
        </p:nvSpPr>
        <p:spPr>
          <a:xfrm>
            <a:off x="4675642" y="4504514"/>
            <a:ext cx="58023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Roboto Slab" pitchFamily="2" charset="0"/>
                <a:ea typeface="Roboto Slab" pitchFamily="2" charset="0"/>
                <a:hlinkClick r:id="rId7"/>
              </a:rPr>
              <a:t>https://youtu.be/czGI4znX9Tg</a:t>
            </a:r>
            <a:endParaRPr lang="en-US" dirty="0">
              <a:latin typeface="Roboto Slab" pitchFamily="2" charset="0"/>
              <a:ea typeface="Roboto Slab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0045305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88952" cy="6857999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1326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2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6725" y="1055925"/>
            <a:ext cx="10163792" cy="477054"/>
          </a:xfrm>
        </p:spPr>
        <p:txBody>
          <a:bodyPr/>
          <a:lstStyle/>
          <a:p>
            <a:r>
              <a:rPr lang="en-US" dirty="0"/>
              <a:t>Designed to motivate students and improve the AP classroom experience</a:t>
            </a:r>
            <a:endParaRPr lang="en-US" baseline="30000" dirty="0"/>
          </a:p>
        </p:txBody>
      </p:sp>
      <p:sp>
        <p:nvSpPr>
          <p:cNvPr id="41" name="TextBox 40"/>
          <p:cNvSpPr txBox="1"/>
          <p:nvPr/>
        </p:nvSpPr>
        <p:spPr>
          <a:xfrm>
            <a:off x="4021725" y="3891006"/>
            <a:ext cx="1785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Unit Guides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999064" y="3891006"/>
            <a:ext cx="207674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AP Question Bank</a:t>
            </a:r>
          </a:p>
        </p:txBody>
      </p:sp>
      <p:sp>
        <p:nvSpPr>
          <p:cNvPr id="47" name="TextBox 46"/>
          <p:cNvSpPr txBox="1"/>
          <p:nvPr/>
        </p:nvSpPr>
        <p:spPr>
          <a:xfrm>
            <a:off x="1117600" y="5815167"/>
            <a:ext cx="182879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Unit Assessments</a:t>
            </a:r>
            <a:b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</a:br>
            <a:endParaRPr lang="en-US" sz="1200" dirty="0">
              <a:solidFill>
                <a:prstClr val="black"/>
              </a:solidFill>
              <a:latin typeface="Roboto Regular"/>
              <a:ea typeface="Roboto Slab Regular" pitchFamily="2" charset="0"/>
              <a:cs typeface="Roboto Regular"/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9516537" y="3891006"/>
            <a:ext cx="173566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Streamlined Ordering</a:t>
            </a:r>
            <a:endParaRPr lang="en-US" sz="1200" dirty="0">
              <a:solidFill>
                <a:prstClr val="black"/>
              </a:solidFill>
              <a:latin typeface="Roboto Regular"/>
              <a:ea typeface="Roboto Slab Regular" pitchFamily="2" charset="0"/>
              <a:cs typeface="Roboto Regular"/>
            </a:endParaRPr>
          </a:p>
        </p:txBody>
      </p:sp>
      <p:sp>
        <p:nvSpPr>
          <p:cNvPr id="35" name="Rectangle 34"/>
          <p:cNvSpPr/>
          <p:nvPr/>
        </p:nvSpPr>
        <p:spPr>
          <a:xfrm>
            <a:off x="6525497" y="463314"/>
            <a:ext cx="674338" cy="9144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4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466725" y="646979"/>
            <a:ext cx="7697872" cy="494764"/>
          </a:xfrm>
        </p:spPr>
        <p:txBody>
          <a:bodyPr/>
          <a:lstStyle/>
          <a:p>
            <a:r>
              <a:rPr lang="en-US" dirty="0"/>
              <a:t>Resources and Supports for AP</a:t>
            </a:r>
            <a:endParaRPr lang="en-US" baseline="30000" dirty="0"/>
          </a:p>
        </p:txBody>
      </p:sp>
      <p:sp>
        <p:nvSpPr>
          <p:cNvPr id="24" name="TextBox 23"/>
          <p:cNvSpPr txBox="1"/>
          <p:nvPr/>
        </p:nvSpPr>
        <p:spPr>
          <a:xfrm>
            <a:off x="8164597" y="5815167"/>
            <a:ext cx="214780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Personalized Labels  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248486" y="3891006"/>
            <a:ext cx="19072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Digital Activ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83659" y="1814449"/>
            <a:ext cx="5984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Roboto Slab Regular"/>
                <a:cs typeface="Roboto Slab Regular"/>
              </a:rPr>
              <a:t>Instructional Resourc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6730999" y="1814449"/>
            <a:ext cx="499533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Roboto Slab Regular"/>
                <a:cs typeface="Roboto Slab Regular"/>
              </a:rPr>
              <a:t>Ordering and Administration Supports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3851986" y="5815167"/>
            <a:ext cx="209420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>
                <a:solidFill>
                  <a:prstClr val="black"/>
                </a:solidFill>
                <a:latin typeface="Roboto Regular"/>
                <a:ea typeface="Roboto Slab Regular" pitchFamily="2" charset="0"/>
                <a:cs typeface="Roboto Regular"/>
              </a:rPr>
              <a:t>Performance Dashboards</a:t>
            </a:r>
          </a:p>
        </p:txBody>
      </p:sp>
    </p:spTree>
    <p:extLst>
      <p:ext uri="{BB962C8B-B14F-4D97-AF65-F5344CB8AC3E}">
        <p14:creationId xmlns:p14="http://schemas.microsoft.com/office/powerpoint/2010/main" val="2594518622"/>
      </p:ext>
    </p:extLst>
  </p:cSld>
  <p:clrMapOvr>
    <a:masterClrMapping/>
  </p:clrMapOvr>
  <p:transition spd="slow">
    <p:push dir="u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Cgnr_FQW.jJOiz.dOL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4zsdZR96QiG984i79v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Xh2O3wQ5ufH3WimO7Z6w"/>
</p:tagLst>
</file>

<file path=ppt/theme/theme1.xml><?xml version="1.0" encoding="utf-8"?>
<a:theme xmlns:a="http://schemas.openxmlformats.org/drawingml/2006/main" name="Title Slides">
  <a:themeElements>
    <a:clrScheme name="CBSAT">
      <a:dk1>
        <a:srgbClr val="1E1E1E"/>
      </a:dk1>
      <a:lt1>
        <a:srgbClr val="FFFFFF"/>
      </a:lt1>
      <a:dk2>
        <a:srgbClr val="44546A"/>
      </a:dk2>
      <a:lt2>
        <a:srgbClr val="E7E6E6"/>
      </a:lt2>
      <a:accent1>
        <a:srgbClr val="009CDE"/>
      </a:accent1>
      <a:accent2>
        <a:srgbClr val="71C5E8"/>
      </a:accent2>
      <a:accent3>
        <a:srgbClr val="FEDB00"/>
      </a:accent3>
      <a:accent4>
        <a:srgbClr val="E57200"/>
      </a:accent4>
      <a:accent5>
        <a:srgbClr val="009CDE"/>
      </a:accent5>
      <a:accent6>
        <a:srgbClr val="3A913F"/>
      </a:accent6>
      <a:hlink>
        <a:srgbClr val="009CDE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ection Dividers">
  <a:themeElements>
    <a:clrScheme name="CBSAT">
      <a:dk1>
        <a:srgbClr val="1E1E1E"/>
      </a:dk1>
      <a:lt1>
        <a:srgbClr val="FFFFFF"/>
      </a:lt1>
      <a:dk2>
        <a:srgbClr val="44546A"/>
      </a:dk2>
      <a:lt2>
        <a:srgbClr val="E7E6E6"/>
      </a:lt2>
      <a:accent1>
        <a:srgbClr val="009CDE"/>
      </a:accent1>
      <a:accent2>
        <a:srgbClr val="71C5E8"/>
      </a:accent2>
      <a:accent3>
        <a:srgbClr val="FEDB00"/>
      </a:accent3>
      <a:accent4>
        <a:srgbClr val="E57200"/>
      </a:accent4>
      <a:accent5>
        <a:srgbClr val="009CDE"/>
      </a:accent5>
      <a:accent6>
        <a:srgbClr val="3A913F"/>
      </a:accent6>
      <a:hlink>
        <a:srgbClr val="009CDE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tatement Slid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Content Slides">
  <a:themeElements>
    <a:clrScheme name="CB-Blue-K-12">
      <a:dk1>
        <a:srgbClr val="1E1E1E"/>
      </a:dk1>
      <a:lt1>
        <a:srgbClr val="FFFFFF"/>
      </a:lt1>
      <a:dk2>
        <a:srgbClr val="505050"/>
      </a:dk2>
      <a:lt2>
        <a:srgbClr val="DCDCDC"/>
      </a:lt2>
      <a:accent1>
        <a:srgbClr val="009CDE"/>
      </a:accent1>
      <a:accent2>
        <a:srgbClr val="71C5E8"/>
      </a:accent2>
      <a:accent3>
        <a:srgbClr val="E57200"/>
      </a:accent3>
      <a:accent4>
        <a:srgbClr val="AF2D8A"/>
      </a:accent4>
      <a:accent5>
        <a:srgbClr val="1E1E1E"/>
      </a:accent5>
      <a:accent6>
        <a:srgbClr val="1E1E1E"/>
      </a:accent6>
      <a:hlink>
        <a:srgbClr val="006298"/>
      </a:hlink>
      <a:folHlink>
        <a:srgbClr val="E8796D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5. Content Slide - No Sideba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6. Content Slide - Large Text (+4p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7. Content Slide - Large Text (+12pt)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Content Slides">
  <a:themeElements>
    <a:clrScheme name="CBSAT">
      <a:dk1>
        <a:srgbClr val="1E1E1E"/>
      </a:dk1>
      <a:lt1>
        <a:srgbClr val="FFFFFF"/>
      </a:lt1>
      <a:dk2>
        <a:srgbClr val="44546A"/>
      </a:dk2>
      <a:lt2>
        <a:srgbClr val="E7E6E6"/>
      </a:lt2>
      <a:accent1>
        <a:srgbClr val="009CDE"/>
      </a:accent1>
      <a:accent2>
        <a:srgbClr val="71C5E8"/>
      </a:accent2>
      <a:accent3>
        <a:srgbClr val="FEDB00"/>
      </a:accent3>
      <a:accent4>
        <a:srgbClr val="E57200"/>
      </a:accent4>
      <a:accent5>
        <a:srgbClr val="009CDE"/>
      </a:accent5>
      <a:accent6>
        <a:srgbClr val="3A913F"/>
      </a:accent6>
      <a:hlink>
        <a:srgbClr val="009CDE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B7B7CDCCEC1B4499689366E887D1FDF" ma:contentTypeVersion="0" ma:contentTypeDescription="Create a new document." ma:contentTypeScope="" ma:versionID="c8ca3ba9c4174586eaadc5140742f58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C13192-0CCE-4ABB-94AB-605EFC5BE935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FDB5A7EF-0D1C-4448-84CA-015E09EB8DA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9C93034D-0C83-43B6-9041-65415BCBE65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2276</TotalTime>
  <Words>140</Words>
  <Application>Microsoft Office PowerPoint</Application>
  <PresentationFormat>Widescreen</PresentationFormat>
  <Paragraphs>27</Paragraphs>
  <Slides>5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3" baseType="lpstr">
      <vt:lpstr>Arial</vt:lpstr>
      <vt:lpstr>Calibri</vt:lpstr>
      <vt:lpstr>Roboto</vt:lpstr>
      <vt:lpstr>Roboto Medium</vt:lpstr>
      <vt:lpstr>Roboto Regular</vt:lpstr>
      <vt:lpstr>Roboto Slab</vt:lpstr>
      <vt:lpstr>Roboto Slab Regular</vt:lpstr>
      <vt:lpstr>Verdana</vt:lpstr>
      <vt:lpstr>Verdana Bold</vt:lpstr>
      <vt:lpstr>Title Slides</vt:lpstr>
      <vt:lpstr>Section Dividers</vt:lpstr>
      <vt:lpstr>Statement Slide</vt:lpstr>
      <vt:lpstr>1_Content Slides</vt:lpstr>
      <vt:lpstr>5. Content Slide - No Sidebar</vt:lpstr>
      <vt:lpstr>6. Content Slide - Large Text (+4pt)</vt:lpstr>
      <vt:lpstr>7. Content Slide - Large Text (+12pt)</vt:lpstr>
      <vt:lpstr>2_Content Slides</vt:lpstr>
      <vt:lpstr>think-cell Slide</vt:lpstr>
      <vt:lpstr>New Resources, Support, and Processes</vt:lpstr>
      <vt:lpstr>A system of resources and supports  for all AP students, teachers,  and coordinators launches in  2019–2020.</vt:lpstr>
      <vt:lpstr>Educator-driven changes</vt:lpstr>
      <vt:lpstr>See what’s on               the wa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iedermann, Edward</dc:creator>
  <cp:lastModifiedBy>Randy Scott</cp:lastModifiedBy>
  <cp:revision>580</cp:revision>
  <cp:lastPrinted>2018-05-30T22:36:22Z</cp:lastPrinted>
  <dcterms:created xsi:type="dcterms:W3CDTF">2016-08-22T23:40:38Z</dcterms:created>
  <dcterms:modified xsi:type="dcterms:W3CDTF">2018-06-28T01:00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B7B7CDCCEC1B4499689366E887D1FDF</vt:lpwstr>
  </property>
</Properties>
</file>